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Ex1.xml" ContentType="application/vnd.ms-office.chartex+xml"/>
  <Override PartName="/ppt/charts/style2.xml" ContentType="application/vnd.ms-office.chartstyle+xml"/>
  <Override PartName="/ppt/charts/colors2.xml" ContentType="application/vnd.ms-office.chartcolorstyle+xml"/>
  <Override PartName="/ppt/charts/chartEx2.xml" ContentType="application/vnd.ms-office.chartex+xml"/>
  <Override PartName="/ppt/charts/style3.xml" ContentType="application/vnd.ms-office.chartstyle+xml"/>
  <Override PartName="/ppt/charts/colors3.xml" ContentType="application/vnd.ms-office.chartcolorstyle+xml"/>
  <Override PartName="/ppt/charts/chart2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sldIdLst>
    <p:sldId id="256" r:id="rId2"/>
    <p:sldId id="258" r:id="rId3"/>
    <p:sldId id="259" r:id="rId4"/>
    <p:sldId id="260" r:id="rId5"/>
  </p:sldIdLst>
  <p:sldSz cx="12192000" cy="6858000"/>
  <p:notesSz cx="6858000" cy="9144000"/>
  <p:custDataLst>
    <p:tags r:id="rId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3DC4"/>
    <a:srgbClr val="FFFFFC"/>
    <a:srgbClr val="B9B9B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997" autoAdjust="0"/>
    <p:restoredTop sz="94660"/>
  </p:normalViewPr>
  <p:slideViewPr>
    <p:cSldViewPr snapToGrid="0">
      <p:cViewPr>
        <p:scale>
          <a:sx n="77" d="100"/>
          <a:sy n="77" d="100"/>
        </p:scale>
        <p:origin x="72" y="28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slide" Target="slides/slide4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tmuiruri001\Documents\Business%20Analytics%20Nanodegree\Nyse%20project\projectdata-nyse%20(1).csv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tmuiruri001\Documents\Business%20Analytics%20Nanodegree\Nyse%20project\projectdata-nyse%20(1).csv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Ex1.xml.rels><?xml version="1.0" encoding="UTF-8" standalone="yes"?>
<Relationships xmlns="http://schemas.openxmlformats.org/package/2006/relationships"><Relationship Id="rId3" Type="http://schemas.microsoft.com/office/2011/relationships/chartColorStyle" Target="colors2.xml"/><Relationship Id="rId2" Type="http://schemas.microsoft.com/office/2011/relationships/chartStyle" Target="style2.xml"/><Relationship Id="rId1" Type="http://schemas.openxmlformats.org/officeDocument/2006/relationships/oleObject" Target="file:///C:\Users\tmuiruri001\Documents\Business%20Analytics%20Nanodegree\Nyse%20project\projectdata-nyse%20(1).csv" TargetMode="External"/></Relationships>
</file>

<file path=ppt/charts/_rels/chartEx2.xml.rels><?xml version="1.0" encoding="UTF-8" standalone="yes"?>
<Relationships xmlns="http://schemas.openxmlformats.org/package/2006/relationships"><Relationship Id="rId3" Type="http://schemas.microsoft.com/office/2011/relationships/chartColorStyle" Target="colors3.xml"/><Relationship Id="rId2" Type="http://schemas.microsoft.com/office/2011/relationships/chartStyle" Target="style3.xml"/><Relationship Id="rId1" Type="http://schemas.openxmlformats.org/officeDocument/2006/relationships/oleObject" Target="file:///C:\Users\tmuiruri001\Documents\Business%20Analytics%20Nanodegree\Nyse%20project\projectdata-nyse%20(1).csv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No. of Companies per Sector</a:t>
            </a:r>
          </a:p>
        </c:rich>
      </c:tx>
      <c:layout>
        <c:manualLayout>
          <c:xMode val="edge"/>
          <c:yMode val="edge"/>
          <c:x val="0.26965266841644797"/>
          <c:y val="2.777777777777777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ectors!$B$19</c:f>
              <c:strCache>
                <c:ptCount val="1"/>
                <c:pt idx="0">
                  <c:v>No of companie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ectors!$A$20:$A$30</c:f>
              <c:strCache>
                <c:ptCount val="11"/>
                <c:pt idx="0">
                  <c:v>Telecommunications Services</c:v>
                </c:pt>
                <c:pt idx="1">
                  <c:v>Materials</c:v>
                </c:pt>
                <c:pt idx="2">
                  <c:v>Utilities</c:v>
                </c:pt>
                <c:pt idx="3">
                  <c:v>Real Estate</c:v>
                </c:pt>
                <c:pt idx="4">
                  <c:v>Energy</c:v>
                </c:pt>
                <c:pt idx="5">
                  <c:v>Consumer Staples</c:v>
                </c:pt>
                <c:pt idx="6">
                  <c:v>Financials</c:v>
                </c:pt>
                <c:pt idx="7">
                  <c:v>Health Care</c:v>
                </c:pt>
                <c:pt idx="8">
                  <c:v>Information Technology</c:v>
                </c:pt>
                <c:pt idx="9">
                  <c:v>Industrials</c:v>
                </c:pt>
                <c:pt idx="10">
                  <c:v>Consumer Discretionary</c:v>
                </c:pt>
              </c:strCache>
            </c:strRef>
          </c:cat>
          <c:val>
            <c:numRef>
              <c:f>Sectors!$B$20:$B$30</c:f>
              <c:numCache>
                <c:formatCode>General</c:formatCode>
                <c:ptCount val="11"/>
                <c:pt idx="0">
                  <c:v>20</c:v>
                </c:pt>
                <c:pt idx="1">
                  <c:v>95</c:v>
                </c:pt>
                <c:pt idx="2">
                  <c:v>96</c:v>
                </c:pt>
                <c:pt idx="3">
                  <c:v>104</c:v>
                </c:pt>
                <c:pt idx="4">
                  <c:v>124</c:v>
                </c:pt>
                <c:pt idx="5">
                  <c:v>132</c:v>
                </c:pt>
                <c:pt idx="6">
                  <c:v>164</c:v>
                </c:pt>
                <c:pt idx="7">
                  <c:v>190</c:v>
                </c:pt>
                <c:pt idx="8">
                  <c:v>230</c:v>
                </c:pt>
                <c:pt idx="9">
                  <c:v>248</c:v>
                </c:pt>
                <c:pt idx="10">
                  <c:v>3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A66-4121-B910-D373E7892F0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1116641440"/>
        <c:axId val="1116640608"/>
      </c:barChart>
      <c:catAx>
        <c:axId val="1116641440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Sector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16640608"/>
        <c:crosses val="autoZero"/>
        <c:auto val="1"/>
        <c:lblAlgn val="ctr"/>
        <c:lblOffset val="100"/>
        <c:noMultiLvlLbl val="0"/>
      </c:catAx>
      <c:valAx>
        <c:axId val="1116640608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No. of Companies</a:t>
                </a:r>
              </a:p>
              <a:p>
                <a:pPr>
                  <a:defRPr/>
                </a:pPr>
                <a:endParaRPr lang="en-US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166414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31750">
      <a:solidFill>
        <a:schemeClr val="tx1"/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projectdata-nyse (1).xlsx]Real Estate Statistics!PivotTable76</c:name>
    <c:fmtId val="5"/>
  </c:pivotSource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Average</a:t>
            </a:r>
            <a:r>
              <a:rPr lang="en-US" baseline="0"/>
              <a:t> Gross profit for the Real Estate sector (2012-2016)</a:t>
            </a:r>
            <a:endParaRPr lang="en-US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ivotFmts>
      <c:pivotFmt>
        <c:idx val="0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t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</c:pivotFmts>
    <c:plotArea>
      <c:layout/>
      <c:lineChart>
        <c:grouping val="standard"/>
        <c:varyColors val="0"/>
        <c:ser>
          <c:idx val="0"/>
          <c:order val="0"/>
          <c:tx>
            <c:strRef>
              <c:f>'Real Estate Statistics'!$B$3</c:f>
              <c:strCache>
                <c:ptCount val="1"/>
                <c:pt idx="0">
                  <c:v>Total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trendline>
            <c:spPr>
              <a:ln w="19050" cap="rnd">
                <a:solidFill>
                  <a:schemeClr val="accent1"/>
                </a:solidFill>
                <a:prstDash val="sysDot"/>
              </a:ln>
              <a:effectLst/>
            </c:spPr>
            <c:trendlineType val="linear"/>
            <c:dispRSqr val="0"/>
            <c:dispEq val="0"/>
          </c:trendline>
          <c:cat>
            <c:strRef>
              <c:f>'Real Estate Statistics'!$A$4:$A$9</c:f>
              <c:strCache>
                <c:ptCount val="5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</c:strCache>
            </c:strRef>
          </c:cat>
          <c:val>
            <c:numRef>
              <c:f>'Real Estate Statistics'!$B$4:$B$9</c:f>
              <c:numCache>
                <c:formatCode>"$"#,##0.00</c:formatCode>
                <c:ptCount val="5"/>
                <c:pt idx="0">
                  <c:v>1147918363.6363637</c:v>
                </c:pt>
                <c:pt idx="1">
                  <c:v>1312573000</c:v>
                </c:pt>
                <c:pt idx="2">
                  <c:v>1438156269.2307692</c:v>
                </c:pt>
                <c:pt idx="3">
                  <c:v>1552626192.3076923</c:v>
                </c:pt>
                <c:pt idx="4">
                  <c:v>15177260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CDA-4DCE-9231-758CC618D97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42363232"/>
        <c:axId val="242365728"/>
      </c:lineChart>
      <c:catAx>
        <c:axId val="242363232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Year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42365728"/>
        <c:crosses val="autoZero"/>
        <c:auto val="1"/>
        <c:lblAlgn val="ctr"/>
        <c:lblOffset val="100"/>
        <c:noMultiLvlLbl val="0"/>
      </c:catAx>
      <c:valAx>
        <c:axId val="2423657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00" dirty="0"/>
                  <a:t>Average Gross Profit($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4236323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38100">
      <a:solidFill>
        <a:schemeClr val="tx1"/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eries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numDim type="val">
        <cx:f>energy!$F$2:$F$32</cx:f>
        <cx:lvl ptCount="31" formatCode="&quot;$&quot;#,##0_);[Red]\(&quot;$&quot;#,##0\)">
          <cx:pt idx="0">1204546000</cx:pt>
          <cx:pt idx="1">1367135000</cx:pt>
          <cx:pt idx="2">1562000000</cx:pt>
          <cx:pt idx="3">1623938000</cx:pt>
          <cx:pt idx="4">1819814000</cx:pt>
          <cx:pt idx="5">1859177000</cx:pt>
          <cx:pt idx="6">2730000000</cx:pt>
          <cx:pt idx="7">3387614000</cx:pt>
          <cx:pt idx="8">4608563000</cx:pt>
          <cx:pt idx="9">5015000000</cx:pt>
          <cx:pt idx="10">5075000000</cx:pt>
          <cx:pt idx="11">7486000000</cx:pt>
          <cx:pt idx="12">10184121000</cx:pt>
          <cx:pt idx="13">10397000000</cx:pt>
          <cx:pt idx="14">11682636000</cx:pt>
          <cx:pt idx="15">11966000000</cx:pt>
          <cx:pt idx="16">12245000000</cx:pt>
          <cx:pt idx="17">12316000000</cx:pt>
          <cx:pt idx="18">14070000000</cx:pt>
          <cx:pt idx="19">14581000000</cx:pt>
          <cx:pt idx="20">16428000000</cx:pt>
          <cx:pt idx="21">17194000000</cx:pt>
          <cx:pt idx="22">20100000000</cx:pt>
          <cx:pt idx="23">22364000000</cx:pt>
          <cx:pt idx="24">29402000000</cx:pt>
          <cx:pt idx="25">29809000000</cx:pt>
          <cx:pt idx="26">82243000000</cx:pt>
          <cx:pt idx="27">138393000000</cx:pt>
          <cx:pt idx="28">179290000000</cx:pt>
          <cx:pt idx="29">230590000000</cx:pt>
          <cx:pt idx="30">451509000000</cx:pt>
        </cx:lvl>
      </cx:numDim>
    </cx:data>
  </cx:chartData>
  <cx:chart>
    <cx:title pos="t" align="ctr" overlay="0">
      <cx:tx>
        <cx:txData>
          <cx:v>Energy Sector Revenue Year 1</cx:v>
        </cx:txData>
      </cx:tx>
      <cx:txPr>
        <a:bodyPr spcFirstLastPara="1" vertOverflow="ellipsis" horzOverflow="overflow" wrap="square" lIns="0" tIns="0" rIns="0" bIns="0" anchor="ctr" anchorCtr="1"/>
        <a:lstStyle/>
        <a:p>
          <a:pPr algn="ctr" rtl="0">
            <a:defRPr lang="en-US" sz="1030" b="1" i="0" u="none" strike="noStrike" baseline="0">
              <a:solidFill>
                <a:schemeClr val="tx1"/>
              </a:solidFill>
              <a:latin typeface="Calibri" panose="020F0502020204030204"/>
              <a:ea typeface="Calibri" panose="020F0502020204030204" pitchFamily="34" charset="0"/>
              <a:cs typeface="Calibri" panose="020F0502020204030204" pitchFamily="34" charset="0"/>
            </a:defRPr>
          </a:pPr>
          <a:r>
            <a:rPr lang="en-US" sz="1030" b="1" i="0" u="none" strike="noStrike" baseline="0">
              <a:solidFill>
                <a:schemeClr val="tx1"/>
              </a:solidFill>
              <a:latin typeface="Calibri" panose="020F0502020204030204"/>
              <a:ea typeface="Calibri" panose="020F0502020204030204" pitchFamily="34" charset="0"/>
              <a:cs typeface="Calibri" panose="020F0502020204030204" pitchFamily="34" charset="0"/>
            </a:rPr>
            <a:t>Energy Sector Revenue Year 1</a:t>
          </a:r>
        </a:p>
      </cx:txPr>
    </cx:title>
    <cx:plotArea>
      <cx:plotAreaRegion>
        <cx:series layoutId="clusteredColumn" uniqueId="{983ABAE2-B38B-4296-96E8-E2FEA04E8A74}">
          <cx:tx>
            <cx:txData>
              <cx:f>energy!$F$1</cx:f>
              <cx:v> Total Revenue </cx:v>
            </cx:txData>
          </cx:tx>
          <cx:dataId val="0"/>
          <cx:layoutPr>
            <cx:binning intervalClosed="r"/>
          </cx:layoutPr>
        </cx:series>
      </cx:plotAreaRegion>
      <cx:axis id="0">
        <cx:catScaling gapWidth="0"/>
        <cx:title>
          <cx:tx>
            <cx:txData>
              <cx:v>Revenue in $</cx:v>
            </cx:txData>
          </cx:tx>
          <cx:txPr>
            <a:bodyPr spcFirstLastPara="1" vertOverflow="ellipsis" horzOverflow="overflow" wrap="square" lIns="0" tIns="0" rIns="0" bIns="0" anchor="ctr" anchorCtr="1"/>
            <a:lstStyle/>
            <a:p>
              <a:pPr algn="ctr" rtl="0">
                <a:defRPr lang="en-US" sz="1030" b="1" i="0" u="none" strike="noStrike" baseline="0">
                  <a:solidFill>
                    <a:schemeClr val="tx1"/>
                  </a:solidFill>
                  <a:latin typeface="Calibri" panose="020F0502020204030204"/>
                  <a:ea typeface="Calibri" panose="020F0502020204030204" pitchFamily="34" charset="0"/>
                  <a:cs typeface="Calibri" panose="020F0502020204030204" pitchFamily="34" charset="0"/>
                </a:defRPr>
              </a:pPr>
              <a:r>
                <a:rPr lang="en-US" sz="1030" b="1" i="0" u="none" strike="noStrike" baseline="0">
                  <a:solidFill>
                    <a:schemeClr val="tx1"/>
                  </a:solidFill>
                  <a:latin typeface="Calibri" panose="020F0502020204030204"/>
                  <a:ea typeface="Calibri" panose="020F0502020204030204" pitchFamily="34" charset="0"/>
                  <a:cs typeface="Calibri" panose="020F0502020204030204" pitchFamily="34" charset="0"/>
                </a:rPr>
                <a:t>Revenue in $</a:t>
              </a:r>
            </a:p>
          </cx:txPr>
        </cx:title>
        <cx:tickLabels/>
        <cx:txPr>
          <a:bodyPr vertOverflow="overflow" horzOverflow="overflow" wrap="square" lIns="0" tIns="0" rIns="0" bIns="0"/>
          <a:lstStyle/>
          <a:p>
            <a:pPr algn="ctr" rtl="0">
              <a:defRPr lang="en-US" sz="1030" b="1" i="0" u="none" strike="noStrike" baseline="0">
                <a:solidFill>
                  <a:schemeClr val="tx1"/>
                </a:solidFill>
                <a:latin typeface="Calibri" panose="020F0502020204030204"/>
                <a:ea typeface="Calibri" panose="020F0502020204030204" pitchFamily="34" charset="0"/>
                <a:cs typeface="Calibri" panose="020F0502020204030204" pitchFamily="34" charset="0"/>
              </a:defRPr>
            </a:pPr>
            <a:endParaRPr lang="en-US" sz="1030" b="1" i="0" u="none" strike="noStrike" baseline="0">
              <a:solidFill>
                <a:schemeClr val="tx1"/>
              </a:solidFill>
              <a:latin typeface="Calibri" panose="020F0502020204030204"/>
              <a:ea typeface="Calibri" panose="020F0502020204030204" pitchFamily="34" charset="0"/>
              <a:cs typeface="Calibri" panose="020F0502020204030204" pitchFamily="34" charset="0"/>
            </a:endParaRPr>
          </a:p>
        </cx:txPr>
      </cx:axis>
      <cx:axis id="1">
        <cx:valScaling/>
        <cx:title>
          <cx:tx>
            <cx:txData>
              <cx:v>Frequency</cx:v>
            </cx:txData>
          </cx:tx>
          <cx:txPr>
            <a:bodyPr spcFirstLastPara="1" vertOverflow="ellipsis" horzOverflow="overflow" wrap="square" lIns="0" tIns="0" rIns="0" bIns="0" anchor="ctr" anchorCtr="1"/>
            <a:lstStyle/>
            <a:p>
              <a:pPr algn="ctr" rtl="0">
                <a:defRPr lang="en-US" sz="1030" b="1" i="0" u="none" strike="noStrike" baseline="0">
                  <a:solidFill>
                    <a:schemeClr val="tx1"/>
                  </a:solidFill>
                  <a:latin typeface="Calibri" panose="020F0502020204030204"/>
                  <a:ea typeface="Calibri" panose="020F0502020204030204" pitchFamily="34" charset="0"/>
                  <a:cs typeface="Calibri" panose="020F0502020204030204" pitchFamily="34" charset="0"/>
                </a:defRPr>
              </a:pPr>
              <a:r>
                <a:rPr lang="en-US" sz="1030" b="1" i="0" u="none" strike="noStrike" baseline="0">
                  <a:solidFill>
                    <a:schemeClr val="tx1"/>
                  </a:solidFill>
                  <a:latin typeface="Calibri" panose="020F0502020204030204"/>
                  <a:ea typeface="Calibri" panose="020F0502020204030204" pitchFamily="34" charset="0"/>
                  <a:cs typeface="Calibri" panose="020F0502020204030204" pitchFamily="34" charset="0"/>
                </a:rPr>
                <a:t>Frequency</a:t>
              </a:r>
            </a:p>
          </cx:txPr>
        </cx:title>
        <cx:majorGridlines/>
        <cx:tickLabels/>
        <cx:txPr>
          <a:bodyPr vertOverflow="overflow" horzOverflow="overflow" wrap="square" lIns="0" tIns="0" rIns="0" bIns="0"/>
          <a:lstStyle/>
          <a:p>
            <a:pPr algn="ctr" rtl="0">
              <a:defRPr lang="en-US" sz="1030" b="1" i="0" u="none" strike="noStrike" baseline="0">
                <a:solidFill>
                  <a:schemeClr val="tx1"/>
                </a:solidFill>
                <a:latin typeface="Calibri" panose="020F0502020204030204"/>
                <a:ea typeface="Calibri" panose="020F0502020204030204" pitchFamily="34" charset="0"/>
                <a:cs typeface="Calibri" panose="020F0502020204030204" pitchFamily="34" charset="0"/>
              </a:defRPr>
            </a:pPr>
            <a:endParaRPr lang="en-US" sz="1030" b="1" i="0" u="none" strike="noStrike" baseline="0">
              <a:solidFill>
                <a:schemeClr val="tx1"/>
              </a:solidFill>
              <a:latin typeface="Calibri" panose="020F0502020204030204"/>
              <a:ea typeface="Calibri" panose="020F0502020204030204" pitchFamily="34" charset="0"/>
              <a:cs typeface="Calibri" panose="020F0502020204030204" pitchFamily="34" charset="0"/>
            </a:endParaRPr>
          </a:p>
        </cx:txPr>
      </cx:axis>
    </cx:plotArea>
  </cx:chart>
  <cx:spPr>
    <a:ln w="31750">
      <a:solidFill>
        <a:schemeClr val="tx1"/>
      </a:solidFill>
    </a:ln>
  </cx:spPr>
</cx:chartSpace>
</file>

<file path=ppt/charts/chartEx2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numDim type="val">
        <cx:f>IT!$F$4:$F$62</cx:f>
        <cx:lvl ptCount="59" formatCode="&quot;$&quot;#,##0_);[Red]\(&quot;$&quot;#,##0\)">
          <cx:pt idx="0">1282236000</cx:pt>
          <cx:pt idx="1">1328817000</cx:pt>
          <cx:pt idx="2">1373947000</cx:pt>
          <cx:pt idx="3">1405358000</cx:pt>
          <cx:pt idx="4">1481314000</cx:pt>
          <cx:pt idx="5">1581623000</cx:pt>
          <cx:pt idx="6">1792000000</cx:pt>
          <cx:pt idx="7">1793557000</cx:pt>
          <cx:pt idx="8">2168652000</cx:pt>
          <cx:pt idx="9">2312200000</cx:pt>
          <cx:pt idx="10">2375923000</cx:pt>
          <cx:pt idx="11">2633689000</cx:pt>
          <cx:pt idx="12">2665000000</cx:pt>
          <cx:pt idx="13">2842781000</cx:pt>
          <cx:pt idx="14">2918434000</cx:pt>
          <cx:pt idx="15">3050195000</cx:pt>
          <cx:pt idx="16">3368545000</cx:pt>
          <cx:pt idx="17">3598916000</cx:pt>
          <cx:pt idx="18">3641390000</cx:pt>
          <cx:pt idx="19">3797000000</cx:pt>
          <cx:pt idx="20">3946000000</cx:pt>
          <cx:pt idx="21">4055240000</cx:pt>
          <cx:pt idx="22">4069746000</cx:pt>
          <cx:pt idx="23">4280159000</cx:pt>
          <cx:pt idx="24">4292100000</cx:pt>
          <cx:pt idx="25">4365400000</cx:pt>
          <cx:pt idx="26">4374562000</cx:pt>
          <cx:pt idx="27">4436000000</cx:pt>
          <cx:pt idx="28">4856000000</cx:pt>
          <cx:pt idx="29">4986566000</cx:pt>
          <cx:pt idx="30">5112000000</cx:pt>
          <cx:pt idx="31">5664800000</cx:pt>
          <cx:pt idx="32">5795800000</cx:pt>
          <cx:pt idx="33">6332400000</cx:pt>
          <cx:pt idx="34">6824000000</cx:pt>
          <cx:pt idx="35">6906000000</cx:pt>
          <cx:pt idx="36">7346472000</cx:pt>
          <cx:pt idx="37">7509000000</cx:pt>
          <cx:pt idx="38">7819000000</cx:pt>
          <cx:pt idx="39">7872000000</cx:pt>
          <cx:pt idx="40">8257000000</cx:pt>
          <cx:pt idx="41">8312000000</cx:pt>
          <cx:pt idx="42">9073000000</cx:pt>
          <cx:pt idx="43">11390000000</cx:pt>
          <cx:pt idx="44">11778000000</cx:pt>
          <cx:pt idx="45">12825000000</cx:pt>
          <cx:pt idx="46">14351000000</cx:pt>
          <cx:pt idx="47">15351000000</cx:pt>
          <cx:pt idx="48">20421000000</cx:pt>
          <cx:pt idx="49">24866000000</cx:pt>
          <cx:pt idx="50">48607000000</cx:pt>
          <cx:pt idx="51">52708000000</cx:pt>
          <cx:pt idx="52">55123000000</cx:pt>
          <cx:pt idx="53">77849000000</cx:pt>
          <cx:pt idx="54">102874000000</cx:pt>
          <cx:pt idx="55">112298000000</cx:pt>
          <cx:pt idx="56">170910000000</cx:pt>
        </cx:lvl>
      </cx:numDim>
    </cx:data>
  </cx:chartData>
  <cx:chart>
    <cx:title pos="t" align="ctr" overlay="0">
      <cx:tx>
        <cx:txData>
          <cx:v>IT Sector Revenue Year 1</cx:v>
        </cx:txData>
      </cx:tx>
      <cx:txPr>
        <a:bodyPr spcFirstLastPara="1" vertOverflow="ellipsis" horzOverflow="overflow" wrap="square" lIns="0" tIns="0" rIns="0" bIns="0" anchor="ctr" anchorCtr="1"/>
        <a:lstStyle/>
        <a:p>
          <a:pPr algn="ctr" rtl="0">
            <a:defRPr lang="en-US" sz="1030" b="1" i="0" u="none" strike="noStrike" baseline="0">
              <a:solidFill>
                <a:schemeClr val="tx1"/>
              </a:solidFill>
              <a:latin typeface="Calibri" panose="020F0502020204030204"/>
              <a:ea typeface="Calibri" panose="020F0502020204030204" pitchFamily="34" charset="0"/>
              <a:cs typeface="Calibri" panose="020F0502020204030204" pitchFamily="34" charset="0"/>
            </a:defRPr>
          </a:pPr>
          <a:r>
            <a:rPr lang="en-US" sz="1030" b="1" i="0" u="none" strike="noStrike" baseline="0">
              <a:solidFill>
                <a:schemeClr val="tx1"/>
              </a:solidFill>
              <a:latin typeface="Calibri" panose="020F0502020204030204"/>
              <a:ea typeface="Calibri" panose="020F0502020204030204" pitchFamily="34" charset="0"/>
              <a:cs typeface="Calibri" panose="020F0502020204030204" pitchFamily="34" charset="0"/>
            </a:rPr>
            <a:t>IT Sector Revenue Year 1</a:t>
          </a:r>
        </a:p>
      </cx:txPr>
    </cx:title>
    <cx:plotArea>
      <cx:plotAreaRegion>
        <cx:series layoutId="clusteredColumn" uniqueId="{02A4E654-134C-4152-9B13-C7EAC2556D22}">
          <cx:tx>
            <cx:txData>
              <cx:f>IT!$F$1</cx:f>
              <cx:v> Total Revenue </cx:v>
            </cx:txData>
          </cx:tx>
          <cx:dataId val="0"/>
          <cx:layoutPr>
            <cx:binning intervalClosed="r"/>
          </cx:layoutPr>
        </cx:series>
      </cx:plotAreaRegion>
      <cx:axis id="0">
        <cx:catScaling gapWidth="0"/>
        <cx:title>
          <cx:tx>
            <cx:txData>
              <cx:v>Revenue in $</cx:v>
            </cx:txData>
          </cx:tx>
          <cx:txPr>
            <a:bodyPr spcFirstLastPara="1" vertOverflow="ellipsis" horzOverflow="overflow" wrap="square" lIns="0" tIns="0" rIns="0" bIns="0" anchor="ctr" anchorCtr="1"/>
            <a:lstStyle/>
            <a:p>
              <a:pPr algn="ctr" rtl="0">
                <a:defRPr lang="en-US" sz="1030" b="1" i="0" u="none" strike="noStrike" baseline="0">
                  <a:solidFill>
                    <a:schemeClr val="tx1"/>
                  </a:solidFill>
                  <a:latin typeface="Calibri" panose="020F0502020204030204"/>
                  <a:ea typeface="Calibri" panose="020F0502020204030204" pitchFamily="34" charset="0"/>
                  <a:cs typeface="Calibri" panose="020F0502020204030204" pitchFamily="34" charset="0"/>
                </a:defRPr>
              </a:pPr>
              <a:r>
                <a:rPr lang="en-US" sz="1030" b="1" i="0" u="none" strike="noStrike" baseline="0">
                  <a:solidFill>
                    <a:schemeClr val="tx1"/>
                  </a:solidFill>
                  <a:latin typeface="Calibri" panose="020F0502020204030204"/>
                  <a:ea typeface="Calibri" panose="020F0502020204030204" pitchFamily="34" charset="0"/>
                  <a:cs typeface="Calibri" panose="020F0502020204030204" pitchFamily="34" charset="0"/>
                </a:rPr>
                <a:t>Revenue in $</a:t>
              </a:r>
            </a:p>
          </cx:txPr>
        </cx:title>
        <cx:tickLabels/>
        <cx:txPr>
          <a:bodyPr vertOverflow="overflow" horzOverflow="overflow" wrap="square" lIns="0" tIns="0" rIns="0" bIns="0"/>
          <a:lstStyle/>
          <a:p>
            <a:pPr algn="ctr" rtl="0">
              <a:defRPr lang="en-US" sz="1030" b="1" i="0" u="none" strike="noStrike" baseline="0">
                <a:solidFill>
                  <a:schemeClr val="tx1"/>
                </a:solidFill>
                <a:latin typeface="Calibri" panose="020F0502020204030204"/>
                <a:ea typeface="Calibri" panose="020F0502020204030204" pitchFamily="34" charset="0"/>
                <a:cs typeface="Calibri" panose="020F0502020204030204" pitchFamily="34" charset="0"/>
              </a:defRPr>
            </a:pPr>
            <a:endParaRPr lang="en-US" sz="1030" b="1" i="0" u="none" strike="noStrike" baseline="0">
              <a:solidFill>
                <a:schemeClr val="tx1"/>
              </a:solidFill>
              <a:latin typeface="Calibri" panose="020F0502020204030204"/>
              <a:ea typeface="Calibri" panose="020F0502020204030204" pitchFamily="34" charset="0"/>
              <a:cs typeface="Calibri" panose="020F0502020204030204" pitchFamily="34" charset="0"/>
            </a:endParaRPr>
          </a:p>
        </cx:txPr>
      </cx:axis>
      <cx:axis id="1">
        <cx:valScaling/>
        <cx:title>
          <cx:tx>
            <cx:txData>
              <cx:v>Frequency</cx:v>
            </cx:txData>
          </cx:tx>
          <cx:txPr>
            <a:bodyPr spcFirstLastPara="1" vertOverflow="ellipsis" horzOverflow="overflow" wrap="square" lIns="0" tIns="0" rIns="0" bIns="0" anchor="ctr" anchorCtr="1"/>
            <a:lstStyle/>
            <a:p>
              <a:pPr algn="ctr" rtl="0">
                <a:defRPr lang="en-US" sz="1030" b="1" i="0" u="none" strike="noStrike" baseline="0">
                  <a:solidFill>
                    <a:schemeClr val="tx1"/>
                  </a:solidFill>
                  <a:latin typeface="Calibri" panose="020F0502020204030204"/>
                  <a:ea typeface="Calibri" panose="020F0502020204030204" pitchFamily="34" charset="0"/>
                  <a:cs typeface="Calibri" panose="020F0502020204030204" pitchFamily="34" charset="0"/>
                </a:defRPr>
              </a:pPr>
              <a:r>
                <a:rPr lang="en-US" sz="1030" b="1" i="0" u="none" strike="noStrike" baseline="0">
                  <a:solidFill>
                    <a:schemeClr val="tx1"/>
                  </a:solidFill>
                  <a:latin typeface="Calibri" panose="020F0502020204030204"/>
                  <a:ea typeface="Calibri" panose="020F0502020204030204" pitchFamily="34" charset="0"/>
                  <a:cs typeface="Calibri" panose="020F0502020204030204" pitchFamily="34" charset="0"/>
                </a:rPr>
                <a:t>Frequency</a:t>
              </a:r>
            </a:p>
          </cx:txPr>
        </cx:title>
        <cx:majorGridlines/>
        <cx:tickLabels/>
        <cx:txPr>
          <a:bodyPr vertOverflow="overflow" horzOverflow="overflow" wrap="square" lIns="0" tIns="0" rIns="0" bIns="0"/>
          <a:lstStyle/>
          <a:p>
            <a:pPr algn="ctr" rtl="0">
              <a:defRPr lang="en-US" sz="1030" b="1" i="0" u="none" strike="noStrike" baseline="0">
                <a:solidFill>
                  <a:schemeClr val="tx1"/>
                </a:solidFill>
                <a:latin typeface="Calibri" panose="020F0502020204030204"/>
                <a:ea typeface="Calibri" panose="020F0502020204030204" pitchFamily="34" charset="0"/>
                <a:cs typeface="Calibri" panose="020F0502020204030204" pitchFamily="34" charset="0"/>
              </a:defRPr>
            </a:pPr>
            <a:endParaRPr lang="en-US" sz="1030" b="1" i="0" u="none" strike="noStrike" baseline="0">
              <a:solidFill>
                <a:schemeClr val="tx1"/>
              </a:solidFill>
              <a:latin typeface="Calibri" panose="020F0502020204030204"/>
              <a:ea typeface="Calibri" panose="020F0502020204030204" pitchFamily="34" charset="0"/>
              <a:cs typeface="Calibri" panose="020F0502020204030204" pitchFamily="34" charset="0"/>
            </a:endParaRPr>
          </a:p>
        </cx:txPr>
      </cx:axis>
    </cx:plotArea>
  </cx:chart>
  <cx:spPr>
    <a:ln w="31750">
      <a:solidFill>
        <a:schemeClr val="tx1"/>
      </a:solidFill>
    </a:ln>
  </cx:spPr>
</cx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36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/>
  </cs:valueAxis>
  <cs:wall>
    <cs:lnRef idx="0"/>
    <cs:fillRef idx="0"/>
    <cs:effectRef idx="0"/>
    <cs:fontRef idx="minor">
      <a:schemeClr val="tx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36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/>
  </cs:valueAxis>
  <cs:wall>
    <cs:lnRef idx="0"/>
    <cs:fillRef idx="0"/>
    <cs:effectRef idx="0"/>
    <cs:fontRef idx="minor">
      <a:schemeClr val="tx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C82BEC-F83B-4F5E-A791-BBFB1711558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2174AF5-1C30-4444-92DB-3ABA696B54A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834A02B-5997-4345-BF14-1EB907CA2D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F6F881-5059-41D1-BAB6-1F5BEBDC8C18}" type="datetimeFigureOut">
              <a:rPr lang="en-US" smtClean="0"/>
              <a:t>10/9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4F137A2-D967-42E2-8388-03BED44600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87A3A93-19CD-47D5-B65E-CCBA37ECD7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E85E52-7D65-45E3-B2EE-692E7F72854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152758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D469F3-D859-4672-8111-8417BB1944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9EB80D3-53C8-466F-90BC-DA7B0A8E709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BD619D7-A497-4BFF-840B-82228BF0DF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F6F881-5059-41D1-BAB6-1F5BEBDC8C18}" type="datetimeFigureOut">
              <a:rPr lang="en-US" smtClean="0"/>
              <a:t>10/9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C3E8CB6-13DB-498F-B7AA-45F0FF725D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DF475B6-B53A-41C9-AFB0-5A93E78A6B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E85E52-7D65-45E3-B2EE-692E7F72854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059284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EC8E065C-3424-412C-8774-AA0916C21D6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02D69A6-7072-4141-BB42-DFB2814ABCE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5C906F6-5A02-4CDA-BB39-73DDB012FC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F6F881-5059-41D1-BAB6-1F5BEBDC8C18}" type="datetimeFigureOut">
              <a:rPr lang="en-US" smtClean="0"/>
              <a:t>10/9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EFF8168-9F38-469C-83DF-97B49E1B90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87194F0-C079-4E39-962A-A3346E1B9F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E85E52-7D65-45E3-B2EE-692E7F72854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35088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18A023-39E2-485A-A6DE-861655AFB4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C559A12-9305-469B-997F-12AE7E9ED22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87AD010-6B7D-4A38-9B9A-9CBCFDE2E8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F6F881-5059-41D1-BAB6-1F5BEBDC8C18}" type="datetimeFigureOut">
              <a:rPr lang="en-US" smtClean="0"/>
              <a:t>10/9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8AA6AC4-6BC0-4105-8670-57057521C1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F2AA1E4-076A-4549-8A65-D296E4356C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E85E52-7D65-45E3-B2EE-692E7F72854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214508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F36DB9-DAC3-46A9-8CB5-086B47A339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FF0E133-BF7F-4E6C-BAA0-1CD7979DF6D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A22A4E7-FA88-4F0D-8EA0-3AA7F224C9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F6F881-5059-41D1-BAB6-1F5BEBDC8C18}" type="datetimeFigureOut">
              <a:rPr lang="en-US" smtClean="0"/>
              <a:t>10/9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F599D0A-0E56-47B8-B6D1-A379D0827D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5D96449-126D-443A-B108-FEAC7BD055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E85E52-7D65-45E3-B2EE-692E7F72854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240695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92F0D0-4CBA-4E33-A051-BE92DC6DFF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231DEEF-D2AA-4977-B836-959442AA8E9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9EDDDD0-3ED9-4226-A03C-0E76BA457D1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C351296-0905-4359-89B8-FB4E141EAA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F6F881-5059-41D1-BAB6-1F5BEBDC8C18}" type="datetimeFigureOut">
              <a:rPr lang="en-US" smtClean="0"/>
              <a:t>10/9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2EB4CED-906C-428E-8811-21EF307EC8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52B0DBE-CA22-49C9-BF48-2F9D03ACA1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E85E52-7D65-45E3-B2EE-692E7F72854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53885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FE9C07-DA87-4D4C-A70E-2245415A22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1D0FE69-D118-4345-A62E-98F5E6F1860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B30DE74-157C-481D-97A0-EFAADD53D72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5D614DA-C422-4E94-9FA1-8A1E7D1F969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1EA750A-6CC5-470A-874E-255964088BA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B8BEBE2-1B6A-4047-8FF1-7D4DF2A324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F6F881-5059-41D1-BAB6-1F5BEBDC8C18}" type="datetimeFigureOut">
              <a:rPr lang="en-US" smtClean="0"/>
              <a:t>10/9/2021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0B6626C-E60B-4AD7-8A2A-FF966FA7BF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A701F38-4032-411C-8403-5B89AD3449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E85E52-7D65-45E3-B2EE-692E7F72854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442733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DB6838-B50B-4779-9865-DBE67CE326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2251886-592E-4FDF-A169-FE0049D749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F6F881-5059-41D1-BAB6-1F5BEBDC8C18}" type="datetimeFigureOut">
              <a:rPr lang="en-US" smtClean="0"/>
              <a:t>10/9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D5298A3-2D99-454E-A23E-3B2F4F90D1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7CF1F56-8B1A-4019-87FE-0616AA7A0A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E85E52-7D65-45E3-B2EE-692E7F72854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44543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6DCF158-FBA9-4A59-AFB9-63BA7E5F14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F6F881-5059-41D1-BAB6-1F5BEBDC8C18}" type="datetimeFigureOut">
              <a:rPr lang="en-US" smtClean="0"/>
              <a:t>10/9/20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6FFE87-8315-4A56-9393-3032431F7B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5975086-45A0-40A8-B396-C45CD3CA61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E85E52-7D65-45E3-B2EE-692E7F72854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565191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1A7BCD-EFB1-4E7A-92E1-4DFB4243D6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B1297A3-94DF-4577-88D3-79AF6F45694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05296B7-5F14-4B5A-8049-C9120CD3F93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9F0779F-136E-4609-912E-8C6C200A02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F6F881-5059-41D1-BAB6-1F5BEBDC8C18}" type="datetimeFigureOut">
              <a:rPr lang="en-US" smtClean="0"/>
              <a:t>10/9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AC34337-1E7D-4074-8767-122AC98644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AEEC07E-770B-4AB9-9B4C-95906B0DED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E85E52-7D65-45E3-B2EE-692E7F72854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173015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FCE4A4-32AC-46B9-8A8B-5A0D33D7E1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E826E97-63A5-45E2-971E-8FE50114B42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8499254-1E2C-4D2D-B468-3E5C362E87F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1D2579C-AB24-43B8-99D2-C3D640AA21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F6F881-5059-41D1-BAB6-1F5BEBDC8C18}" type="datetimeFigureOut">
              <a:rPr lang="en-US" smtClean="0"/>
              <a:t>10/9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21947C6-F1B6-4D84-9C4C-0BF2AE85BE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68F22DC-19DE-4063-8B9B-0C0FC7A5F6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E85E52-7D65-45E3-B2EE-692E7F72854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92277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9BD311E-F46C-4C66-AA06-C9A315AA93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8919023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73" imgH="476" progId="TCLayout.ActiveDocument.1">
                  <p:embed/>
                </p:oleObj>
              </mc:Choice>
              <mc:Fallback>
                <p:oleObj name="think-cell Slide" r:id="rId14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3CABFE1-DC76-4B1D-B026-7B4BBFEACE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4646402-1539-41E5-9750-EB4E5898E6A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0DC0BDC-FA8E-494B-B856-EDAA7D6B857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6F881-5059-41D1-BAB6-1F5BEBDC8C18}" type="datetimeFigureOut">
              <a:rPr lang="en-US" smtClean="0"/>
              <a:t>10/9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1B3EFB4-5DD2-45DD-9536-47B744A9927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E8A9ADD-E9D2-43F1-A1E3-CA12E54D95D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1E85E52-7D65-45E3-B2EE-692E7F72854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89907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.xml"/><Relationship Id="rId5" Type="http://schemas.openxmlformats.org/officeDocument/2006/relationships/chart" Target="../charts/chart1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microsoft.com/office/2014/relationships/chartEx" Target="../charts/chartEx1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3.png"/><Relationship Id="rId4" Type="http://schemas.microsoft.com/office/2014/relationships/chartEx" Target="../charts/chartEx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3EB476D-5EC3-417D-BDD1-256C588869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238447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4837E4A7-CF9C-49CB-B201-F3867BD9EC25}"/>
              </a:ext>
            </a:extLst>
          </p:cNvPr>
          <p:cNvSpPr txBox="1"/>
          <p:nvPr/>
        </p:nvSpPr>
        <p:spPr>
          <a:xfrm>
            <a:off x="232997" y="272562"/>
            <a:ext cx="55787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rgbClr val="003DC4"/>
                </a:solidFill>
              </a:rPr>
              <a:t>Which sector has the highest number of compani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FB83E5F-E6CC-446D-9BAE-35C3A2813CC9}"/>
              </a:ext>
            </a:extLst>
          </p:cNvPr>
          <p:cNvSpPr txBox="1"/>
          <p:nvPr/>
        </p:nvSpPr>
        <p:spPr>
          <a:xfrm>
            <a:off x="7596554" y="858128"/>
            <a:ext cx="419393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Most companies belong to the Consumer and Discretionary Sector</a:t>
            </a:r>
          </a:p>
          <a:p>
            <a:endParaRPr lang="en-US" dirty="0"/>
          </a:p>
        </p:txBody>
      </p: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E3A93A01-391B-4C22-86AD-1DC81028637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97589470"/>
              </p:ext>
            </p:extLst>
          </p:nvPr>
        </p:nvGraphicFramePr>
        <p:xfrm>
          <a:off x="401515" y="858128"/>
          <a:ext cx="6266813" cy="39503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26123535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C03A1A68-1BA3-41DA-9C39-31921CD996EB}"/>
              </a:ext>
            </a:extLst>
          </p:cNvPr>
          <p:cNvSpPr txBox="1"/>
          <p:nvPr/>
        </p:nvSpPr>
        <p:spPr>
          <a:xfrm>
            <a:off x="342900" y="316523"/>
            <a:ext cx="654147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Do companies in Energy Sector make more Revenue than IT Sector During Year 1 of operation?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BF1074B-F3B4-4290-917D-804A7BBA632B}"/>
              </a:ext>
            </a:extLst>
          </p:cNvPr>
          <p:cNvSpPr txBox="1"/>
          <p:nvPr/>
        </p:nvSpPr>
        <p:spPr>
          <a:xfrm>
            <a:off x="169214" y="4850296"/>
            <a:ext cx="759324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he histograms above show Year 1 Revenues for Energy and IT Sectors Respectively.  Both are right skewed, meaning that the average(mean) revenue is greater than the median</a:t>
            </a:r>
          </a:p>
        </p:txBody>
      </p:sp>
      <mc:AlternateContent xmlns:mc="http://schemas.openxmlformats.org/markup-compatibility/2006">
        <mc:Choice xmlns:cx1="http://schemas.microsoft.com/office/drawing/2015/9/8/chartex" Requires="cx1">
          <p:graphicFrame>
            <p:nvGraphicFramePr>
              <p:cNvPr id="9" name="Chart 8">
                <a:extLst>
                  <a:ext uri="{FF2B5EF4-FFF2-40B4-BE49-F238E27FC236}">
                    <a16:creationId xmlns:a16="http://schemas.microsoft.com/office/drawing/2014/main" id="{628D1FBF-51BD-423A-8813-597F75263622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158800790"/>
                  </p:ext>
                </p:extLst>
              </p:nvPr>
            </p:nvGraphicFramePr>
            <p:xfrm>
              <a:off x="89701" y="1073765"/>
              <a:ext cx="5714751" cy="3398174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2"/>
              </a:graphicData>
            </a:graphic>
          </p:graphicFrame>
        </mc:Choice>
        <mc:Fallback>
          <p:pic>
            <p:nvPicPr>
              <p:cNvPr id="9" name="Chart 8">
                <a:extLst>
                  <a:ext uri="{FF2B5EF4-FFF2-40B4-BE49-F238E27FC236}">
                    <a16:creationId xmlns:a16="http://schemas.microsoft.com/office/drawing/2014/main" id="{628D1FBF-51BD-423A-8813-597F75263622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89701" y="1073765"/>
                <a:ext cx="5714751" cy="3398174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cx1="http://schemas.microsoft.com/office/drawing/2015/9/8/chartex" Requires="cx1">
          <p:graphicFrame>
            <p:nvGraphicFramePr>
              <p:cNvPr id="10" name="Chart 9">
                <a:extLst>
                  <a:ext uri="{FF2B5EF4-FFF2-40B4-BE49-F238E27FC236}">
                    <a16:creationId xmlns:a16="http://schemas.microsoft.com/office/drawing/2014/main" id="{00690E39-594B-4637-A50D-FD3C4E87E5B3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2077463157"/>
                  </p:ext>
                </p:extLst>
              </p:nvPr>
            </p:nvGraphicFramePr>
            <p:xfrm>
              <a:off x="5933661" y="1084374"/>
              <a:ext cx="6168639" cy="3398174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4"/>
              </a:graphicData>
            </a:graphic>
          </p:graphicFrame>
        </mc:Choice>
        <mc:Fallback>
          <p:pic>
            <p:nvPicPr>
              <p:cNvPr id="10" name="Chart 9">
                <a:extLst>
                  <a:ext uri="{FF2B5EF4-FFF2-40B4-BE49-F238E27FC236}">
                    <a16:creationId xmlns:a16="http://schemas.microsoft.com/office/drawing/2014/main" id="{00690E39-594B-4637-A50D-FD3C4E87E5B3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5933661" y="1084374"/>
                <a:ext cx="6168639" cy="3398174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164679853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4807236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9FEB32C7-13BB-4441-B8B2-F0A28F3FF45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6295163"/>
              </p:ext>
            </p:extLst>
          </p:nvPr>
        </p:nvGraphicFramePr>
        <p:xfrm>
          <a:off x="311426" y="1212574"/>
          <a:ext cx="6556514" cy="42937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007C653C-E1DA-40C6-875C-A7F179DED920}"/>
              </a:ext>
            </a:extLst>
          </p:cNvPr>
          <p:cNvSpPr txBox="1"/>
          <p:nvPr/>
        </p:nvSpPr>
        <p:spPr>
          <a:xfrm>
            <a:off x="7464287" y="1063487"/>
            <a:ext cx="4416287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he line chart alongside shows us how the gross profit for the real estate sector has been evolving between 2012 and 2016.</a:t>
            </a:r>
          </a:p>
          <a:p>
            <a:r>
              <a:rPr lang="en-US" dirty="0"/>
              <a:t>There has been an upward trend( increase)in the average gross profit for the Real estate sector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F06189C-D829-40C4-B375-589D8600291E}"/>
              </a:ext>
            </a:extLst>
          </p:cNvPr>
          <p:cNvSpPr txBox="1"/>
          <p:nvPr/>
        </p:nvSpPr>
        <p:spPr>
          <a:xfrm>
            <a:off x="178904" y="278296"/>
            <a:ext cx="668903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How does the gross profit of the Real Estate Sector vary across the year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3976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31</TotalTime>
  <Words>167</Words>
  <Application>Microsoft Office PowerPoint</Application>
  <PresentationFormat>Widescreen</PresentationFormat>
  <Paragraphs>19</Paragraphs>
  <Slides>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9" baseType="lpstr">
      <vt:lpstr>Arial</vt:lpstr>
      <vt:lpstr>Calibri</vt:lpstr>
      <vt:lpstr>Calibri Light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eresia Muiruri (KE)</dc:creator>
  <cp:lastModifiedBy>Teresia Muiruri (KE)</cp:lastModifiedBy>
  <cp:revision>14</cp:revision>
  <dcterms:created xsi:type="dcterms:W3CDTF">2021-10-09T14:09:09Z</dcterms:created>
  <dcterms:modified xsi:type="dcterms:W3CDTF">2021-10-09T18:00:12Z</dcterms:modified>
</cp:coreProperties>
</file>